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  <p:sldMasterId id="2147483719" r:id="rId2"/>
  </p:sldMasterIdLst>
  <p:notesMasterIdLst>
    <p:notesMasterId r:id="rId42"/>
  </p:notesMasterIdLst>
  <p:handoutMasterIdLst>
    <p:handoutMasterId r:id="rId43"/>
  </p:handoutMasterIdLst>
  <p:sldIdLst>
    <p:sldId id="293" r:id="rId3"/>
    <p:sldId id="282" r:id="rId4"/>
    <p:sldId id="285" r:id="rId5"/>
    <p:sldId id="298" r:id="rId6"/>
    <p:sldId id="295" r:id="rId7"/>
    <p:sldId id="296" r:id="rId8"/>
    <p:sldId id="297" r:id="rId9"/>
    <p:sldId id="299" r:id="rId10"/>
    <p:sldId id="300" r:id="rId11"/>
    <p:sldId id="301" r:id="rId12"/>
    <p:sldId id="302" r:id="rId13"/>
    <p:sldId id="303" r:id="rId14"/>
    <p:sldId id="304" r:id="rId15"/>
    <p:sldId id="305" r:id="rId16"/>
    <p:sldId id="306" r:id="rId17"/>
    <p:sldId id="307" r:id="rId18"/>
    <p:sldId id="308" r:id="rId19"/>
    <p:sldId id="309" r:id="rId20"/>
    <p:sldId id="310" r:id="rId21"/>
    <p:sldId id="311" r:id="rId22"/>
    <p:sldId id="312" r:id="rId23"/>
    <p:sldId id="314" r:id="rId24"/>
    <p:sldId id="313" r:id="rId25"/>
    <p:sldId id="315" r:id="rId26"/>
    <p:sldId id="316" r:id="rId27"/>
    <p:sldId id="317" r:id="rId28"/>
    <p:sldId id="318" r:id="rId29"/>
    <p:sldId id="319" r:id="rId30"/>
    <p:sldId id="320" r:id="rId31"/>
    <p:sldId id="321" r:id="rId32"/>
    <p:sldId id="322" r:id="rId33"/>
    <p:sldId id="323" r:id="rId34"/>
    <p:sldId id="324" r:id="rId35"/>
    <p:sldId id="325" r:id="rId36"/>
    <p:sldId id="326" r:id="rId37"/>
    <p:sldId id="327" r:id="rId38"/>
    <p:sldId id="328" r:id="rId39"/>
    <p:sldId id="329" r:id="rId40"/>
    <p:sldId id="330" r:id="rId41"/>
  </p:sldIdLst>
  <p:sldSz cx="9144000" cy="6858000" type="screen4x3"/>
  <p:notesSz cx="7023100" cy="93091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rst, Iris ter" initials="HIt" lastIdx="10" clrIdx="0">
    <p:extLst>
      <p:ext uri="{19B8F6BF-5375-455C-9EA6-DF929625EA0E}">
        <p15:presenceInfo xmlns:p15="http://schemas.microsoft.com/office/powerpoint/2012/main" userId="S-1-5-21-2052111302-790525478-839522115-104158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71" autoAdjust="0"/>
    <p:restoredTop sz="96242" autoAdjust="0"/>
  </p:normalViewPr>
  <p:slideViewPr>
    <p:cSldViewPr snapToGrid="0">
      <p:cViewPr varScale="1">
        <p:scale>
          <a:sx n="110" d="100"/>
          <a:sy n="110" d="100"/>
        </p:scale>
        <p:origin x="1746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41338390-7CE2-4AA3-83EE-C2344727DA29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E8BB138C-C1E4-45DA-9485-44B52CE6B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182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92E757C6-F101-4DAF-92DA-E3BA4363B459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E42728C-53A3-4AC1-BACA-B8D73AE76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825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2"/>
          <p:cNvSpPr>
            <a:spLocks noChangeArrowheads="1"/>
          </p:cNvSpPr>
          <p:nvPr/>
        </p:nvSpPr>
        <p:spPr bwMode="auto">
          <a:xfrm>
            <a:off x="561975" y="3946525"/>
            <a:ext cx="8185150" cy="946150"/>
          </a:xfrm>
          <a:prstGeom prst="rect">
            <a:avLst/>
          </a:prstGeom>
          <a:noFill/>
          <a:ln>
            <a:noFill/>
          </a:ln>
          <a:effectLst>
            <a:outerShdw dist="45791" dir="8778596" algn="ctr" rotWithShape="0">
              <a:schemeClr val="bg2"/>
            </a:outerShdw>
          </a:effectLst>
        </p:spPr>
        <p:txBody>
          <a:bodyPr anchor="ctr" anchorCtr="1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DE25E"/>
              </a:buClr>
              <a:buSzTx/>
              <a:buFontTx/>
              <a:buNone/>
              <a:tabLst/>
              <a:defRPr/>
            </a:pPr>
            <a:endParaRPr kumimoji="0" lang="en-US" sz="2600" b="1" i="1" u="none" strike="noStrike" kern="1200" cap="none" spc="0" normalizeH="0" baseline="0" noProof="0">
              <a:ln>
                <a:noFill/>
              </a:ln>
              <a:solidFill>
                <a:srgbClr val="DDDDDD"/>
              </a:solidFill>
              <a:effectLst/>
              <a:uLnTx/>
              <a:uFillTx/>
              <a:latin typeface="Arial" charset="0"/>
              <a:ea typeface="ヒラギノ角ゴ Pro W3" pitchFamily="-111" charset="-128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DE25E"/>
              </a:buClr>
              <a:buSzTx/>
              <a:buFontTx/>
              <a:buNone/>
              <a:tabLst/>
              <a:defRPr/>
            </a:pPr>
            <a:endParaRPr kumimoji="0" lang="en-US" sz="2600" b="1" i="1" u="none" strike="noStrike" kern="1200" cap="none" spc="0" normalizeH="0" baseline="0" noProof="0">
              <a:ln>
                <a:noFill/>
              </a:ln>
              <a:solidFill>
                <a:srgbClr val="DDDDDD"/>
              </a:solidFill>
              <a:effectLst/>
              <a:uLnTx/>
              <a:uFillTx/>
              <a:latin typeface="Arial" charset="0"/>
              <a:ea typeface="ヒラギノ角ゴ Pro W3" pitchFamily="-111" charset="-128"/>
              <a:cs typeface="Arial" charset="0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92163" y="1427163"/>
            <a:ext cx="7589837" cy="609600"/>
          </a:xfrm>
        </p:spPr>
        <p:txBody>
          <a:bodyPr lIns="0" rIns="0" anchor="ctr">
            <a:spAutoFit/>
          </a:bodyPr>
          <a:lstStyle>
            <a:lvl1pPr>
              <a:lnSpc>
                <a:spcPct val="85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" y="3224213"/>
            <a:ext cx="8185150" cy="889000"/>
          </a:xfrm>
        </p:spPr>
        <p:txBody>
          <a:bodyPr anchorCtr="1"/>
          <a:lstStyle>
            <a:lvl1pPr marL="0" indent="0" algn="ctr">
              <a:buSzTx/>
              <a:buFontTx/>
              <a:buNone/>
              <a:defRPr sz="3400" i="1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34316567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F9964-4C47-4965-B454-2A26D85519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0ED7B0-906F-421A-B412-2D1691ED5C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CACD93-9683-4FA4-AD49-3DD586A114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2F5D04-A1EE-4B6E-8154-86D97A18A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06F63-F6CD-4482-AB1E-639EA711D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60965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4BC59-8142-43CF-A384-FA5BC24A2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A1538D-D211-433F-9F30-ECE71BB0D6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6E67D1-A424-46A2-AB0C-C1234EC37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00E08C-CF70-4C60-B567-9E6FBC30F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04A213-AA70-4283-B65D-E1F2CFC13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8949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658074-774F-495F-B4DE-B37A4719FB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0F54D6-76A1-491B-87BC-224E2B2EEA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6357BD-70F3-416D-BC32-7639709CAF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8149B8-BCD9-40A7-A94C-6649939A3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4C4B43-8C75-4B92-BCF4-CC886E3A0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E6D55C-8BEC-4129-BD49-6FD6AB230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41938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29928E-9A10-4268-BAF3-3A70E2048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5FEBCD-05D2-49BF-B9AC-EBF0D4C883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8555AE-ADD6-42A8-B540-31D491A8F5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F6F8D5-6F66-4881-9C86-F6B5D72829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1A2952-2337-4335-871E-968B52E356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CB3ABD-993C-4DC6-8FFE-456247308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D65588-17E5-4D02-BE7A-E46660E66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CAFAA0-D86E-4C84-8D9B-BFCD361359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552213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A4A17D-B075-4670-8B42-CA0CE8698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BE987B-46E2-449D-8EA0-9EC6EE417E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7FEF01-7516-4D8E-BCEC-1043DE6E20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2E2ACF-B198-4E46-BF38-8BB4CE8EB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046373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46613B-6055-4D43-9BB7-38308A278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DAD77F-3B06-4CD3-98BC-4F400FF187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FEB469-380E-48A2-87EE-86FF9054CD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03903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CBB57A-743A-4428-B0E1-30A12F2D4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BE1397-04EC-45DE-9240-EB87CFA73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2D94B-F157-4238-9F8F-2BE2BE6AC5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050B4C-C50B-4102-8D74-C13C20AA9A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74D4F9-1BFF-4BB3-9DD3-F7D7D6D69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B83E36-5880-45B5-B20D-2F1289FEE6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234650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99120B-1941-4699-865F-DB050E2E8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B0572A-94E8-4D39-8EF1-973917D4940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9C9AF3-80DB-41D3-8EC8-320E9E1F44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484B33-17D1-4904-9593-1FC61E24F6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E7B7C0-F0E0-44E1-A463-2DD6427A67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E448A0-9D5B-4ABC-900C-0193F728A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804714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209A6E-D9EB-45A6-9A75-CAC0A7EA1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EDDB58D-9424-4710-B448-D901129353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B1D964-9790-4D94-BA3E-12B4D61A2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5313DE-2DE7-4717-B598-92734E055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85E65E-6642-45E3-A099-6433C6A4D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328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A1AE72A-44F6-4D0C-B7B3-28460ADE28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E5BFDB-F8D0-47D0-9AE5-C4B73AB494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55ACBC-B119-4292-919B-CF756926C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DD77AB-A01B-47F6-823B-C67367C11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A299F8-8854-4C22-82C0-E689063AE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9438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737883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795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795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0189081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773271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9259103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6440911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3184207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118076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83258-95E4-455B-AF42-2694D41000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F0233B-0A4F-4934-9E7C-BE3F72DBF3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4D5004-575D-424D-BA5C-0637D872D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BB51A6-8C95-4A41-806F-59C7603601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279ED9-7E39-4227-8DB6-7B7FA9D01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169160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4213" y="155575"/>
            <a:ext cx="7769225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47955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456047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transition>
    <p:wipe dir="r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53763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0"/>
        </a:spcAft>
        <a:buClr>
          <a:schemeClr val="bg1"/>
        </a:buClr>
        <a:buSzPct val="110000"/>
        <a:buChar char="•"/>
        <a:defRPr sz="30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30000"/>
        </a:spcBef>
        <a:spcAft>
          <a:spcPct val="0"/>
        </a:spcAft>
        <a:buClr>
          <a:schemeClr val="bg1"/>
        </a:buClr>
        <a:buSzPct val="70000"/>
        <a:buFont typeface="Wingdings 2" pitchFamily="18" charset="2"/>
        <a:buChar char="¡"/>
        <a:defRPr sz="2800" b="1">
          <a:solidFill>
            <a:srgbClr val="053763"/>
          </a:solidFill>
          <a:latin typeface="+mn-lt"/>
        </a:defRPr>
      </a:lvl2pPr>
      <a:lvl3pPr marL="1143000" indent="-228600" algn="l" rtl="0" eaLnBrk="0" fontAlgn="base" hangingPunct="0">
        <a:spcBef>
          <a:spcPct val="30000"/>
        </a:spcBef>
        <a:spcAft>
          <a:spcPct val="0"/>
        </a:spcAft>
        <a:buChar char="•"/>
        <a:defRPr sz="2400" b="1">
          <a:solidFill>
            <a:srgbClr val="053763"/>
          </a:solidFill>
          <a:latin typeface="+mn-lt"/>
        </a:defRPr>
      </a:lvl3pPr>
      <a:lvl4pPr marL="1600200" indent="-228600" algn="l" rtl="0" eaLnBrk="0" fontAlgn="base" hangingPunct="0">
        <a:spcBef>
          <a:spcPct val="30000"/>
        </a:spcBef>
        <a:spcAft>
          <a:spcPct val="0"/>
        </a:spcAft>
        <a:buChar char="–"/>
        <a:defRPr sz="2000" b="1">
          <a:solidFill>
            <a:srgbClr val="053763"/>
          </a:solidFill>
          <a:latin typeface="+mn-lt"/>
        </a:defRPr>
      </a:lvl4pPr>
      <a:lvl5pPr marL="2057400" indent="-228600" algn="l" rtl="0" eaLnBrk="0" fontAlgn="base" hangingPunct="0">
        <a:spcBef>
          <a:spcPct val="30000"/>
        </a:spcBef>
        <a:spcAft>
          <a:spcPct val="0"/>
        </a:spcAft>
        <a:buChar char="»"/>
        <a:defRPr sz="2000" b="1">
          <a:solidFill>
            <a:srgbClr val="053763"/>
          </a:solidFill>
          <a:latin typeface="+mn-lt"/>
        </a:defRPr>
      </a:lvl5pPr>
      <a:lvl6pPr marL="25146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779111-9820-40B4-9DD0-0A572BBCF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BF1064-D18E-46EF-B72B-4A7311B87B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603CDC-C46A-4DC6-94B9-8660CF25A5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EFAB2A-0F74-4546-99D0-E0256441CC5E}" type="datetimeFigureOut">
              <a:rPr lang="en-US" smtClean="0"/>
              <a:t>1/2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E8B4A5-3A2D-42F0-8D67-21DB755D81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5F1AE0-0954-42B9-9AF9-F55CD36142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11AB-97D2-4AEB-A750-1663FB9652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944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transition>
    <p:wipe dir="r"/>
  </p:transition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D2278-3589-428F-A8D6-844B2DBE6D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8186" y="645589"/>
            <a:ext cx="7503814" cy="1655762"/>
          </a:xfrm>
        </p:spPr>
        <p:txBody>
          <a:bodyPr>
            <a:normAutofit fontScale="90000"/>
          </a:bodyPr>
          <a:lstStyle/>
          <a:p>
            <a:r>
              <a:rPr lang="en-US" sz="6000" dirty="0">
                <a:latin typeface="Garamond" panose="02020404030301010803" pitchFamily="18" charset="0"/>
              </a:rPr>
              <a:t>CCC Peripheral Live Case 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87646F-DCB4-42C4-A5B5-891A2F6B47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1/24/2024</a:t>
            </a:r>
          </a:p>
        </p:txBody>
      </p:sp>
    </p:spTree>
    <p:extLst>
      <p:ext uri="{BB962C8B-B14F-4D97-AF65-F5344CB8AC3E}">
        <p14:creationId xmlns:p14="http://schemas.microsoft.com/office/powerpoint/2010/main" val="3515566402"/>
      </p:ext>
    </p:extLst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797EF18-7530-478D-AA01-3EB4AF2C99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30" y="778598"/>
            <a:ext cx="8083746" cy="435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86911"/>
      </p:ext>
    </p:extLst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CBB1F6-BA81-4DCC-8211-72DCFEDCB6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8173"/>
            <a:ext cx="9144000" cy="5481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095209"/>
      </p:ext>
    </p:extLst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B6928CD-9C2D-47ED-BA4E-3316959A48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9795"/>
            <a:ext cx="9144000" cy="4798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735264"/>
      </p:ext>
    </p:extLst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D27001-22A4-4B76-AE76-FD4FA5F1B4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8151"/>
            <a:ext cx="9144000" cy="5141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751739"/>
      </p:ext>
    </p:extLst>
  </p:cSld>
  <p:clrMapOvr>
    <a:masterClrMapping/>
  </p:clrMapOvr>
  <p:transition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BECF4B4-4A45-4418-8CFC-106220C85D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6477"/>
            <a:ext cx="9144000" cy="4325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644981"/>
      </p:ext>
    </p:extLst>
  </p:cSld>
  <p:clrMapOvr>
    <a:masterClrMapping/>
  </p:clrMapOvr>
  <p:transition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2F15CA-CD90-4585-B5D1-030E9C9470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65839"/>
            <a:ext cx="9144000" cy="3168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03265"/>
      </p:ext>
    </p:extLst>
  </p:cSld>
  <p:clrMapOvr>
    <a:masterClrMapping/>
  </p:clrMapOvr>
  <p:transition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A759E5-9A74-45AC-B982-1AB074AE55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1767"/>
            <a:ext cx="9144000" cy="4154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80361"/>
      </p:ext>
    </p:extLst>
  </p:cSld>
  <p:clrMapOvr>
    <a:masterClrMapping/>
  </p:clrMapOvr>
  <p:transition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4834E45-F520-4895-9B3F-AFA87E672B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5076"/>
            <a:ext cx="9144000" cy="5067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949038"/>
      </p:ext>
    </p:extLst>
  </p:cSld>
  <p:clrMapOvr>
    <a:masterClrMapping/>
  </p:clrMapOvr>
  <p:transition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4EB0A30-096B-4281-A7BA-DC6524F26E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1600"/>
            <a:ext cx="9144000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840263"/>
      </p:ext>
    </p:extLst>
  </p:cSld>
  <p:clrMapOvr>
    <a:masterClrMapping/>
  </p:clrMapOvr>
  <p:transition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C830D70-4BC9-4BB7-A71D-1B7913306B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1020"/>
            <a:ext cx="9144000" cy="4455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207908"/>
      </p:ext>
    </p:extLst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D8282-9CC4-4FDC-A4E4-229A2C284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4" y="155575"/>
            <a:ext cx="7722032" cy="582180"/>
          </a:xfrm>
        </p:spPr>
        <p:txBody>
          <a:bodyPr>
            <a:normAutofit/>
          </a:bodyPr>
          <a:lstStyle/>
          <a:p>
            <a:r>
              <a:rPr lang="en-US" dirty="0"/>
              <a:t>Case presentatio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2E72A3-E003-4750-A079-5FF67C06EC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499" y="737755"/>
            <a:ext cx="8260774" cy="5808518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50000"/>
              </a:lnSpc>
            </a:pPr>
            <a:r>
              <a:rPr lang="en-US" sz="2800" b="0" dirty="0">
                <a:latin typeface="Garamond" panose="02020404030301010803" pitchFamily="18" charset="0"/>
              </a:rPr>
              <a:t>74 Year old gentleman   </a:t>
            </a:r>
            <a:r>
              <a:rPr lang="en-US" sz="2800" dirty="0">
                <a:solidFill>
                  <a:srgbClr val="FF0000"/>
                </a:solidFill>
              </a:rPr>
              <a:t> </a:t>
            </a:r>
            <a:r>
              <a:rPr lang="en-US" sz="2800" b="0" dirty="0">
                <a:latin typeface="Garamond" panose="02020404030301010803" pitchFamily="18" charset="0"/>
              </a:rPr>
              <a:t>for progressively worsening LLE claudication progressing to  over the past 6 months ( Rutherford grade 1 category 3) . </a:t>
            </a:r>
          </a:p>
          <a:p>
            <a:pPr>
              <a:lnSpc>
                <a:spcPct val="150000"/>
              </a:lnSpc>
            </a:pPr>
            <a:r>
              <a:rPr lang="en-US" sz="2800" b="0" dirty="0">
                <a:latin typeface="Garamond" panose="02020404030301010803" pitchFamily="18" charset="0"/>
              </a:rPr>
              <a:t>Worsening symptoms despite  maximal medical therapy and community based SET </a:t>
            </a:r>
          </a:p>
          <a:p>
            <a:pPr>
              <a:lnSpc>
                <a:spcPct val="150000"/>
              </a:lnSpc>
            </a:pPr>
            <a:r>
              <a:rPr lang="en-US" sz="2800" b="0" dirty="0">
                <a:latin typeface="Garamond" panose="02020404030301010803" pitchFamily="18" charset="0"/>
              </a:rPr>
              <a:t>PMH: HTN, Hyperlipidemia and NIDM, former smoker, poly-vascular disease ( CAD s/p PCI to LAD and PAD s/p prior PTA) 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latin typeface="Garamond" panose="02020404030301010803" pitchFamily="18" charset="0"/>
              </a:rPr>
              <a:t>Medications: Aspirin 81 mg, Atorvastatin 80 mg, Metformin, Cilostazol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800" b="0" dirty="0">
              <a:latin typeface="Garamond" panose="02020404030301010803" pitchFamily="18" charset="0"/>
            </a:endParaRPr>
          </a:p>
          <a:p>
            <a:pPr>
              <a:lnSpc>
                <a:spcPct val="150000"/>
              </a:lnSpc>
            </a:pPr>
            <a:endParaRPr lang="en-US" sz="2800" b="0" dirty="0">
              <a:latin typeface="Garamond" panose="02020404030301010803" pitchFamily="18" charset="0"/>
            </a:endParaRPr>
          </a:p>
          <a:p>
            <a:pPr marL="0" indent="0">
              <a:buNone/>
            </a:pPr>
            <a:endParaRPr lang="en-US" sz="2800" b="0" dirty="0">
              <a:latin typeface="Garamond" panose="02020404030301010803" pitchFamily="18" charset="0"/>
            </a:endParaRPr>
          </a:p>
          <a:p>
            <a:endParaRPr lang="en-US" sz="2800" b="0" dirty="0">
              <a:latin typeface="Garamond" panose="02020404030301010803" pitchFamily="18" charset="0"/>
            </a:endParaRPr>
          </a:p>
          <a:p>
            <a:pPr marL="0" indent="0">
              <a:buNone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96825908"/>
      </p:ext>
    </p:extLst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08C8D4D-7B20-4C96-9F95-F5F6DC08BD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1020"/>
            <a:ext cx="9144000" cy="4455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212945"/>
      </p:ext>
    </p:extLst>
  </p:cSld>
  <p:clrMapOvr>
    <a:masterClrMapping/>
  </p:clrMapOvr>
  <p:transition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001C68E-4348-4A35-95AA-4330E940FD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55143"/>
            <a:ext cx="9144000" cy="474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216682"/>
      </p:ext>
    </p:extLst>
  </p:cSld>
  <p:clrMapOvr>
    <a:masterClrMapping/>
  </p:clrMapOvr>
  <p:transition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DEF6D7-1957-46C9-84F5-BE62E72BC2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93567"/>
            <a:ext cx="9144000" cy="4070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89232"/>
      </p:ext>
    </p:extLst>
  </p:cSld>
  <p:clrMapOvr>
    <a:masterClrMapping/>
  </p:clrMapOvr>
  <p:transition>
    <p:wipe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BFF9D05-828C-4D01-997E-A611E11F82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1088"/>
            <a:ext cx="9144000" cy="4195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036085"/>
      </p:ext>
    </p:extLst>
  </p:cSld>
  <p:clrMapOvr>
    <a:masterClrMapping/>
  </p:clrMapOvr>
  <p:transition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ADD797F-3BD7-46F2-946C-C0188C0AE6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6864"/>
            <a:ext cx="9144000" cy="4304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030934"/>
      </p:ext>
    </p:extLst>
  </p:cSld>
  <p:clrMapOvr>
    <a:masterClrMapping/>
  </p:clrMapOvr>
  <p:transition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51D50FA-363E-4339-9DC0-BA9769099D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3120"/>
            <a:ext cx="9144000" cy="5271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534503"/>
      </p:ext>
    </p:extLst>
  </p:cSld>
  <p:clrMapOvr>
    <a:masterClrMapping/>
  </p:clrMapOvr>
  <p:transition>
    <p:wipe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9FB7CF3-473A-4655-ADFD-767B604A04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23272"/>
            <a:ext cx="9144000" cy="441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966084"/>
      </p:ext>
    </p:extLst>
  </p:cSld>
  <p:clrMapOvr>
    <a:masterClrMapping/>
  </p:clrMapOvr>
  <p:transition>
    <p:wipe dir="r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FB3484-CBD0-4B2D-9EDB-C3971D7417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80050"/>
            <a:ext cx="9144000" cy="429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839489"/>
      </p:ext>
    </p:extLst>
  </p:cSld>
  <p:clrMapOvr>
    <a:masterClrMapping/>
  </p:clrMapOvr>
  <p:transition>
    <p:wipe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CA64CD5-789E-4ED1-94F9-3DF43ADF03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44826"/>
            <a:ext cx="9144000" cy="516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84257"/>
      </p:ext>
    </p:extLst>
  </p:cSld>
  <p:clrMapOvr>
    <a:masterClrMapping/>
  </p:clrMapOvr>
  <p:transition>
    <p:wipe dir="r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28DFEE-7207-4B48-BB19-67A8FFC2BF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580"/>
            <a:ext cx="9144000" cy="4884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899635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AE44B-75C7-495A-B3D5-BB99ECABD7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767638" cy="911413"/>
          </a:xfrm>
        </p:spPr>
        <p:txBody>
          <a:bodyPr/>
          <a:lstStyle/>
          <a:p>
            <a:r>
              <a:rPr lang="en-US" dirty="0"/>
              <a:t>  </a:t>
            </a:r>
            <a:r>
              <a:rPr lang="en-US" dirty="0">
                <a:latin typeface="Garamond" panose="02020404030301010803" pitchFamily="18" charset="0"/>
              </a:rPr>
              <a:t>Clinical </a:t>
            </a:r>
            <a:r>
              <a:rPr lang="en-US" sz="2800" dirty="0">
                <a:latin typeface="Garamond" panose="02020404030301010803" pitchFamily="18" charset="0"/>
                <a:ea typeface="+mn-ea"/>
                <a:cs typeface="+mn-cs"/>
              </a:rPr>
              <a:t>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8B694C-83F0-41FF-BE0A-627D03572D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479549"/>
            <a:ext cx="7767638" cy="4659993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10000"/>
              </a:lnSpc>
            </a:pPr>
            <a:r>
              <a:rPr lang="en-US" sz="2600" b="0" dirty="0">
                <a:latin typeface="Garamond" panose="02020404030301010803" pitchFamily="18" charset="0"/>
              </a:rPr>
              <a:t>Vitals: BP 150/70, HR 72 , Sao2 98% on RA </a:t>
            </a:r>
          </a:p>
          <a:p>
            <a:pPr>
              <a:lnSpc>
                <a:spcPct val="110000"/>
              </a:lnSpc>
            </a:pPr>
            <a:endParaRPr lang="en-US" sz="2600" dirty="0">
              <a:latin typeface="Garamond" panose="02020404030301010803" pitchFamily="18" charset="0"/>
            </a:endParaRPr>
          </a:p>
          <a:p>
            <a:pPr>
              <a:lnSpc>
                <a:spcPct val="110000"/>
              </a:lnSpc>
            </a:pPr>
            <a:r>
              <a:rPr lang="en-US" sz="2600" b="0" dirty="0">
                <a:latin typeface="Garamond" panose="02020404030301010803" pitchFamily="18" charset="0"/>
              </a:rPr>
              <a:t>Pertinent focused vascular exam  notable for non palpable non-</a:t>
            </a:r>
            <a:r>
              <a:rPr lang="en-US" sz="2600" b="0" dirty="0" err="1">
                <a:latin typeface="Garamond" panose="02020404030301010803" pitchFamily="18" charset="0"/>
              </a:rPr>
              <a:t>dopplerable</a:t>
            </a:r>
            <a:r>
              <a:rPr lang="en-US" sz="2600" b="0" dirty="0">
                <a:latin typeface="Garamond" panose="02020404030301010803" pitchFamily="18" charset="0"/>
              </a:rPr>
              <a:t>  DP pulses bilaterally  , and palpable  PT pulses  bilaterally </a:t>
            </a:r>
          </a:p>
          <a:p>
            <a:pPr>
              <a:lnSpc>
                <a:spcPct val="110000"/>
              </a:lnSpc>
            </a:pPr>
            <a:r>
              <a:rPr lang="en-US" sz="2600" b="0" dirty="0">
                <a:latin typeface="Garamond" panose="02020404030301010803" pitchFamily="18" charset="0"/>
              </a:rPr>
              <a:t>Labs: Hgb 15.1, </a:t>
            </a:r>
            <a:r>
              <a:rPr lang="en-US" sz="2600" b="0" dirty="0" err="1">
                <a:latin typeface="Garamond" panose="02020404030301010803" pitchFamily="18" charset="0"/>
              </a:rPr>
              <a:t>Plts</a:t>
            </a:r>
            <a:r>
              <a:rPr lang="en-US" sz="2600" b="0" dirty="0">
                <a:latin typeface="Garamond" panose="02020404030301010803" pitchFamily="18" charset="0"/>
              </a:rPr>
              <a:t> 175K, Cr 0.8 </a:t>
            </a:r>
          </a:p>
          <a:p>
            <a:pPr>
              <a:lnSpc>
                <a:spcPct val="110000"/>
              </a:lnSpc>
            </a:pPr>
            <a:endParaRPr lang="en-US" sz="2600" b="0" dirty="0">
              <a:latin typeface="Garamond" panose="02020404030301010803" pitchFamily="18" charset="0"/>
            </a:endParaRPr>
          </a:p>
          <a:p>
            <a:pPr>
              <a:lnSpc>
                <a:spcPct val="110000"/>
              </a:lnSpc>
            </a:pPr>
            <a:r>
              <a:rPr lang="en-US" sz="2600" b="0" dirty="0">
                <a:latin typeface="Garamond" panose="02020404030301010803" pitchFamily="18" charset="0"/>
              </a:rPr>
              <a:t>ABI Right 0.8 Left 0.62</a:t>
            </a:r>
          </a:p>
          <a:p>
            <a:pPr>
              <a:lnSpc>
                <a:spcPct val="110000"/>
              </a:lnSpc>
            </a:pPr>
            <a:r>
              <a:rPr lang="en-US" sz="2600" b="0" dirty="0">
                <a:latin typeface="Garamond" panose="02020404030301010803" pitchFamily="18" charset="0"/>
              </a:rPr>
              <a:t>Arterial Duplex LLE  was notable for occluded L SFA and  L ATA with monophasic waveforms in left popliteal, ATA and peroneal artery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810031"/>
      </p:ext>
    </p:extLst>
  </p:cSld>
  <p:clrMapOvr>
    <a:masterClrMapping/>
  </p:clrMapOvr>
  <p:transition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50C0AE-A2B7-43A7-9A03-4C41952902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09003"/>
            <a:ext cx="9144000" cy="5439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152881"/>
      </p:ext>
    </p:extLst>
  </p:cSld>
  <p:clrMapOvr>
    <a:masterClrMapping/>
  </p:clrMapOvr>
  <p:transition>
    <p:wipe dir="r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E543701-7ED8-4A31-BB3F-F07C63E4DE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00834"/>
            <a:ext cx="9144000" cy="545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200982"/>
      </p:ext>
    </p:extLst>
  </p:cSld>
  <p:clrMapOvr>
    <a:masterClrMapping/>
  </p:clrMapOvr>
  <p:transition>
    <p:wipe dir="r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E6C8E2-DE2E-4B9B-8221-3E6445383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8178"/>
            <a:ext cx="9144000" cy="4801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423964"/>
      </p:ext>
    </p:extLst>
  </p:cSld>
  <p:clrMapOvr>
    <a:masterClrMapping/>
  </p:clrMapOvr>
  <p:transition>
    <p:wipe dir="r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C68620-0F9A-4E1B-AD5E-149D96E4FF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0983"/>
            <a:ext cx="9144000" cy="471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315116"/>
      </p:ext>
    </p:extLst>
  </p:cSld>
  <p:clrMapOvr>
    <a:masterClrMapping/>
  </p:clrMapOvr>
  <p:transition>
    <p:wipe dir="r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C8F5F06-D190-4EB8-AFD7-6D7B98010A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39467"/>
            <a:ext cx="9144000" cy="4979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636724"/>
      </p:ext>
    </p:extLst>
  </p:cSld>
  <p:clrMapOvr>
    <a:masterClrMapping/>
  </p:clrMapOvr>
  <p:transition>
    <p:wipe dir="r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B6526EE-DC20-47AF-A160-52BA8FEA52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0316"/>
            <a:ext cx="9144000" cy="5097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032053"/>
      </p:ext>
    </p:extLst>
  </p:cSld>
  <p:clrMapOvr>
    <a:masterClrMapping/>
  </p:clrMapOvr>
  <p:transition>
    <p:wipe dir="r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D684E6-C0FE-44FE-BFB3-7C9602B816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9500"/>
            <a:ext cx="9144000" cy="513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387702"/>
      </p:ext>
    </p:extLst>
  </p:cSld>
  <p:clrMapOvr>
    <a:masterClrMapping/>
  </p:clrMapOvr>
  <p:transition>
    <p:wipe dir="r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2A0827C-E9C5-48D5-871E-A198AC6E09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67475"/>
            <a:ext cx="9144000" cy="492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492552"/>
      </p:ext>
    </p:extLst>
  </p:cSld>
  <p:clrMapOvr>
    <a:masterClrMapping/>
  </p:clrMapOvr>
  <p:transition>
    <p:wipe dir="r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04C50E-FA4B-4EEB-8780-A055FE5719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54279"/>
            <a:ext cx="9144000" cy="534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361827"/>
      </p:ext>
    </p:extLst>
  </p:cSld>
  <p:clrMapOvr>
    <a:masterClrMapping/>
  </p:clrMapOvr>
  <p:transition>
    <p:wipe dir="r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F8D714-885E-4D4E-967F-B2FF424299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77797"/>
            <a:ext cx="9144000" cy="5102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207548"/>
      </p:ext>
    </p:extLst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612D6F8-0CB8-4D83-AC2B-2DC06144A4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285" y="581815"/>
            <a:ext cx="5211430" cy="5694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854640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F14210B-5C2E-4C7E-B0D0-4D00C3EBD3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618" y="504395"/>
            <a:ext cx="3329393" cy="5488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BA9A425-20C2-4722-B728-FE2C3B3505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4963" y="491690"/>
            <a:ext cx="2904086" cy="5700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11077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0FD50B-A204-48FA-98EE-E01595225D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23" y="568001"/>
            <a:ext cx="2939794" cy="52443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5C48FE7-6843-441E-8272-16A1EAAEFC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608" y="642796"/>
            <a:ext cx="3471783" cy="5244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369905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0C8DDE-FFF6-4026-9326-87AFF58561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085" y="365126"/>
            <a:ext cx="8162265" cy="467793"/>
          </a:xfrm>
        </p:spPr>
        <p:txBody>
          <a:bodyPr>
            <a:normAutofit fontScale="90000"/>
          </a:bodyPr>
          <a:lstStyle/>
          <a:p>
            <a:r>
              <a:rPr lang="en-US" dirty="0"/>
              <a:t>                      Case Pla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59CC1F-A2DA-46DC-9B37-1BF21D1B00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4277" y="1484768"/>
            <a:ext cx="7729161" cy="4725908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200000"/>
              </a:lnSpc>
            </a:pPr>
            <a:r>
              <a:rPr lang="en-US" sz="2000" b="0" dirty="0">
                <a:latin typeface="Garamond" panose="02020404030301010803" pitchFamily="18" charset="0"/>
              </a:rPr>
              <a:t>6 Fr RFA Up and over 45 cm destination sheath </a:t>
            </a:r>
          </a:p>
          <a:p>
            <a:pPr>
              <a:lnSpc>
                <a:spcPct val="200000"/>
              </a:lnSpc>
            </a:pPr>
            <a:r>
              <a:rPr lang="en-US" sz="2000" b="0" dirty="0">
                <a:latin typeface="Garamond" panose="02020404030301010803" pitchFamily="18" charset="0"/>
              </a:rPr>
              <a:t>Alternate access : possible retrograde distal SFA vs pedal access (single vessel run off to the foot) </a:t>
            </a:r>
          </a:p>
          <a:p>
            <a:pPr>
              <a:lnSpc>
                <a:spcPct val="200000"/>
              </a:lnSpc>
            </a:pPr>
            <a:r>
              <a:rPr lang="en-US" sz="2000" b="0" dirty="0">
                <a:latin typeface="Garamond" panose="02020404030301010803" pitchFamily="18" charset="0"/>
              </a:rPr>
              <a:t>Cross true lumen vs subintimal </a:t>
            </a:r>
          </a:p>
          <a:p>
            <a:pPr>
              <a:lnSpc>
                <a:spcPct val="200000"/>
              </a:lnSpc>
            </a:pPr>
            <a:r>
              <a:rPr lang="en-US" sz="2000" b="0" dirty="0">
                <a:latin typeface="Garamond" panose="02020404030301010803" pitchFamily="18" charset="0"/>
              </a:rPr>
              <a:t>Stiff angle glide wire (0.035 in)  with  angled support catheter (Vert Tip) using looped wire technique </a:t>
            </a:r>
          </a:p>
          <a:p>
            <a:pPr>
              <a:lnSpc>
                <a:spcPct val="200000"/>
              </a:lnSpc>
            </a:pPr>
            <a:r>
              <a:rPr lang="en-US" sz="2000" b="0" dirty="0">
                <a:latin typeface="Garamond" panose="02020404030301010803" pitchFamily="18" charset="0"/>
              </a:rPr>
              <a:t>Re-enter  true lumen in distal SFA just distal to  where SFA reconstitutes ( option of  Fem-pop bypass in future) </a:t>
            </a:r>
          </a:p>
          <a:p>
            <a:pPr>
              <a:lnSpc>
                <a:spcPct val="200000"/>
              </a:lnSpc>
            </a:pPr>
            <a:r>
              <a:rPr lang="en-US" sz="2000" b="0" dirty="0">
                <a:latin typeface="Garamond" panose="02020404030301010803" pitchFamily="18" charset="0"/>
              </a:rPr>
              <a:t>IVUS guidance with distal embolic protection (Nav 6 </a:t>
            </a:r>
            <a:r>
              <a:rPr lang="en-US" sz="2000" dirty="0" err="1">
                <a:latin typeface="Garamond" panose="02020404030301010803" pitchFamily="18" charset="0"/>
              </a:rPr>
              <a:t>E</a:t>
            </a:r>
            <a:r>
              <a:rPr lang="en-US" sz="2000" b="0" dirty="0" err="1">
                <a:latin typeface="Garamond" panose="02020404030301010803" pitchFamily="18" charset="0"/>
              </a:rPr>
              <a:t>mboshield</a:t>
            </a:r>
            <a:r>
              <a:rPr lang="en-US" sz="2000" b="0" dirty="0">
                <a:latin typeface="Garamond" panose="02020404030301010803" pitchFamily="18" charset="0"/>
              </a:rPr>
              <a:t>) </a:t>
            </a:r>
          </a:p>
          <a:p>
            <a:pPr>
              <a:lnSpc>
                <a:spcPct val="200000"/>
              </a:lnSpc>
            </a:pPr>
            <a:r>
              <a:rPr lang="en-US" sz="2000" b="0" dirty="0">
                <a:latin typeface="Garamond" panose="02020404030301010803" pitchFamily="18" charset="0"/>
              </a:rPr>
              <a:t>Vessel Prep (IVL –Shockwave  vs Atherectomy) </a:t>
            </a:r>
          </a:p>
          <a:p>
            <a:pPr>
              <a:lnSpc>
                <a:spcPct val="200000"/>
              </a:lnSpc>
            </a:pPr>
            <a:r>
              <a:rPr lang="en-US" sz="2000" b="0" dirty="0">
                <a:latin typeface="Garamond" panose="02020404030301010803" pitchFamily="18" charset="0"/>
              </a:rPr>
              <a:t>DCB vs DES vs BMS vs interwoven nitinol stent (</a:t>
            </a:r>
            <a:r>
              <a:rPr lang="en-US" sz="2000" b="0" dirty="0" err="1">
                <a:latin typeface="Garamond" panose="02020404030301010803" pitchFamily="18" charset="0"/>
              </a:rPr>
              <a:t>Supera</a:t>
            </a:r>
            <a:r>
              <a:rPr lang="en-US" sz="2000" b="0" dirty="0">
                <a:latin typeface="Garamond" panose="02020404030301010803" pitchFamily="18" charset="0"/>
              </a:rPr>
              <a:t>)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895653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37601F2-2A7B-4924-9E33-5822E51A97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8" y="964406"/>
            <a:ext cx="9144000" cy="4929187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46883130"/>
      </p:ext>
    </p:extLst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E14AED-9F2A-4F4F-B836-C483DE1263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5527"/>
            <a:ext cx="9144000" cy="5706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13507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RF_2006_background">
  <a:themeElements>
    <a:clrScheme name="">
      <a:dk1>
        <a:srgbClr val="000000"/>
      </a:dk1>
      <a:lt1>
        <a:srgbClr val="FFFFFF"/>
      </a:lt1>
      <a:dk2>
        <a:srgbClr val="002E4B"/>
      </a:dk2>
      <a:lt2>
        <a:srgbClr val="FDE25E"/>
      </a:lt2>
      <a:accent1>
        <a:srgbClr val="FF3300"/>
      </a:accent1>
      <a:accent2>
        <a:srgbClr val="6699FF"/>
      </a:accent2>
      <a:accent3>
        <a:srgbClr val="AAADB1"/>
      </a:accent3>
      <a:accent4>
        <a:srgbClr val="DADADA"/>
      </a:accent4>
      <a:accent5>
        <a:srgbClr val="FFADAA"/>
      </a:accent5>
      <a:accent6>
        <a:srgbClr val="5C8AE7"/>
      </a:accent6>
      <a:hlink>
        <a:srgbClr val="FFCC00"/>
      </a:hlink>
      <a:folHlink>
        <a:srgbClr val="969696"/>
      </a:folHlink>
    </a:clrScheme>
    <a:fontScheme name="CRF_2006_backgrou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lnDef>
  </a:objectDefaults>
  <a:extraClrSchemeLst>
    <a:extraClrScheme>
      <a:clrScheme name="CRF_2006_backgroun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F_2006_backgroun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8">
        <a:dk1>
          <a:srgbClr val="000000"/>
        </a:dk1>
        <a:lt1>
          <a:srgbClr val="FFFFFF"/>
        </a:lt1>
        <a:dk2>
          <a:srgbClr val="002E4B"/>
        </a:dk2>
        <a:lt2>
          <a:srgbClr val="FDE25E"/>
        </a:lt2>
        <a:accent1>
          <a:srgbClr val="FF3300"/>
        </a:accent1>
        <a:accent2>
          <a:srgbClr val="3333FF"/>
        </a:accent2>
        <a:accent3>
          <a:srgbClr val="AAADB1"/>
        </a:accent3>
        <a:accent4>
          <a:srgbClr val="DADADA"/>
        </a:accent4>
        <a:accent5>
          <a:srgbClr val="FFADAA"/>
        </a:accent5>
        <a:accent6>
          <a:srgbClr val="2D2DE7"/>
        </a:accent6>
        <a:hlink>
          <a:srgbClr val="FFCC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606</TotalTime>
  <Words>268</Words>
  <Application>Microsoft Office PowerPoint</Application>
  <PresentationFormat>On-screen Show (4:3)</PresentationFormat>
  <Paragraphs>27</Paragraphs>
  <Slides>3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8" baseType="lpstr">
      <vt:lpstr>Arial</vt:lpstr>
      <vt:lpstr>Calibri</vt:lpstr>
      <vt:lpstr>Calibri Light</vt:lpstr>
      <vt:lpstr>Garamond</vt:lpstr>
      <vt:lpstr>Wingdings 2</vt:lpstr>
      <vt:lpstr>ヒラギノ角ゴ Pro W3</vt:lpstr>
      <vt:lpstr>1_CRF_2006_background</vt:lpstr>
      <vt:lpstr>Office Theme</vt:lpstr>
      <vt:lpstr>think-cell Slide</vt:lpstr>
      <vt:lpstr>CCC Peripheral Live Case  </vt:lpstr>
      <vt:lpstr>Case presentation </vt:lpstr>
      <vt:lpstr>  Clinical Presentation</vt:lpstr>
      <vt:lpstr>PowerPoint Presentation</vt:lpstr>
      <vt:lpstr>PowerPoint Presentation</vt:lpstr>
      <vt:lpstr>PowerPoint Presentation</vt:lpstr>
      <vt:lpstr>                      Case Pla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hili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ture of Cath-labs and PCI</dc:title>
  <dc:creator>Foin, Nicolas</dc:creator>
  <cp:lastModifiedBy>CVICRSCTRL6</cp:lastModifiedBy>
  <cp:revision>135</cp:revision>
  <cp:lastPrinted>2017-10-26T11:57:59Z</cp:lastPrinted>
  <dcterms:created xsi:type="dcterms:W3CDTF">2017-10-24T17:20:19Z</dcterms:created>
  <dcterms:modified xsi:type="dcterms:W3CDTF">2024-01-24T11:49:42Z</dcterms:modified>
</cp:coreProperties>
</file>